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</p:sldMasterIdLst>
  <p:notesMasterIdLst>
    <p:notesMasterId r:id="rId11"/>
  </p:notesMasterIdLst>
  <p:sldIdLst>
    <p:sldId id="315" r:id="rId2"/>
    <p:sldId id="313" r:id="rId3"/>
    <p:sldId id="316" r:id="rId4"/>
    <p:sldId id="318" r:id="rId5"/>
    <p:sldId id="320" r:id="rId6"/>
    <p:sldId id="322" r:id="rId7"/>
    <p:sldId id="323" r:id="rId8"/>
    <p:sldId id="324" r:id="rId9"/>
    <p:sldId id="325" r:id="rId10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18" userDrawn="1">
          <p15:clr>
            <a:srgbClr val="A4A3A4"/>
          </p15:clr>
        </p15:guide>
        <p15:guide id="2" pos="1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7B6"/>
    <a:srgbClr val="E7E6E6"/>
    <a:srgbClr val="595959"/>
    <a:srgbClr val="9B9D9D"/>
    <a:srgbClr val="9E9F9F"/>
    <a:srgbClr val="6E6E6E"/>
    <a:srgbClr val="759FCC"/>
    <a:srgbClr val="F17E00"/>
    <a:srgbClr val="898989"/>
    <a:srgbClr val="8E8E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60" autoAdjust="0"/>
    <p:restoredTop sz="96048" autoAdjust="0"/>
  </p:normalViewPr>
  <p:slideViewPr>
    <p:cSldViewPr snapToGrid="0">
      <p:cViewPr varScale="1">
        <p:scale>
          <a:sx n="110" d="100"/>
          <a:sy n="110" d="100"/>
        </p:scale>
        <p:origin x="834" y="102"/>
      </p:cViewPr>
      <p:guideLst>
        <p:guide orient="horz" pos="2818"/>
        <p:guide pos="1663"/>
      </p:guideLst>
    </p:cSldViewPr>
  </p:slid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216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4D9883-0807-4005-9F68-7E64826AB418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4" y="4777615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6C3879-601A-4437-8C17-4A2CECBF46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192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79884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30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6348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5688" y="6453064"/>
            <a:ext cx="7153216" cy="15549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1862984" y="6669360"/>
            <a:ext cx="271066" cy="158654"/>
          </a:xfrm>
          <a:ln/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0D029BF2-24B2-48BC-B71B-DE3A65B5FA4D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>
                <a:solidFill>
                  <a:srgbClr val="000000"/>
                </a:solidFill>
              </a:rPr>
              <a:t> 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4241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536601" y="60187"/>
            <a:ext cx="56554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НЦЕПЦИЯ СТРАТЕГИИ РАЗВИТИЯ</a:t>
            </a:r>
            <a:r>
              <a:rPr lang="en-U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АНКА «КУБ» (АО) НА 2019-2021гг.</a:t>
            </a: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1142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33245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8948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837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212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3614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397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78492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8547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4673600"/>
            <a:ext cx="12192000" cy="2184399"/>
          </a:xfrm>
          <a:prstGeom prst="rect">
            <a:avLst/>
          </a:prstGeom>
          <a:solidFill>
            <a:srgbClr val="0057B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304817" y="6417547"/>
            <a:ext cx="1887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www.creditural.ru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54BE97-19FA-45BB-8A0C-D870D4D87A13}"/>
              </a:ext>
            </a:extLst>
          </p:cNvPr>
          <p:cNvSpPr txBox="1"/>
          <p:nvPr/>
        </p:nvSpPr>
        <p:spPr>
          <a:xfrm>
            <a:off x="2906084" y="2305615"/>
            <a:ext cx="680120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лой дом и земельный участок</a:t>
            </a:r>
          </a:p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орское сельское поселение, </a:t>
            </a:r>
          </a:p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Приморский, ул. Мичурина, </a:t>
            </a:r>
          </a:p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м 38/1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7" y="256890"/>
            <a:ext cx="2262426" cy="56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272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2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01FD9608-8D90-45FE-BA57-43482DAA63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5898957"/>
              </p:ext>
            </p:extLst>
          </p:nvPr>
        </p:nvGraphicFramePr>
        <p:xfrm>
          <a:off x="390828" y="1465735"/>
          <a:ext cx="11156738" cy="318792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626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301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8241">
                <a:tc>
                  <a:txBody>
                    <a:bodyPr/>
                    <a:lstStyle/>
                    <a:p>
                      <a:r>
                        <a:rPr lang="ru-RU" sz="1000" b="1" dirty="0"/>
                        <a:t>Площадь: общая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dirty="0"/>
                        <a:t>Общая площадь жилого дома 168,2 кв. м2   и земельного участка 1500 кв. м2 </a:t>
                      </a:r>
                      <a:endParaRPr lang="ru-RU" sz="1000" b="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dirty="0"/>
                        <a:t>Адрес (местоположение)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0" dirty="0"/>
                        <a:t>Россия, Челябинская область, Приморское сельское поселение, п. Приморский, ул. Мичурина, д. 38/1</a:t>
                      </a:r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863">
                <a:tc>
                  <a:txBody>
                    <a:bodyPr/>
                    <a:lstStyle/>
                    <a:p>
                      <a:pPr marL="0" marR="0" lvl="0" indent="0" algn="l" defTabSz="9144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/>
                        <a:t>Тип здания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/>
                        <a:t>Жилой дом, дата постройки 2020г., дата присвоения кадастрового номера январь 2021г.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dirty="0"/>
                        <a:t>Количество этажей 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2 в том числе подземных 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baseline="0" dirty="0"/>
                        <a:t>Текущее использование 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Жилое</a:t>
                      </a:r>
                      <a:r>
                        <a:rPr lang="ru-RU" sz="1000" baseline="0" dirty="0"/>
                        <a:t> помещение</a:t>
                      </a:r>
                      <a:endParaRPr lang="ru-RU" sz="10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9503">
                <a:tc>
                  <a:txBody>
                    <a:bodyPr/>
                    <a:lstStyle/>
                    <a:p>
                      <a:r>
                        <a:rPr lang="ru-RU" sz="1000" b="1" dirty="0"/>
                        <a:t>Материал перекрытий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Железобетонные плиты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kern="1200" dirty="0">
                          <a:effectLst/>
                        </a:rPr>
                        <a:t>Наружные стены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Кирпич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kern="1200" dirty="0">
                          <a:effectLst/>
                        </a:rPr>
                        <a:t>Фундамент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Железобетонный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6318">
                <a:tc>
                  <a:txBody>
                    <a:bodyPr/>
                    <a:lstStyle/>
                    <a:p>
                      <a:r>
                        <a:rPr lang="ru-RU" sz="1000" b="1" dirty="0"/>
                        <a:t>Подземная этажность 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00" b="1" dirty="0"/>
                        <a:t>Уровень отделки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err="1"/>
                        <a:t>Предчистовая</a:t>
                      </a:r>
                      <a:endParaRPr lang="en-US" sz="1000" dirty="0"/>
                    </a:p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87022">
                <a:tc>
                  <a:txBody>
                    <a:bodyPr/>
                    <a:lstStyle/>
                    <a:p>
                      <a:r>
                        <a:rPr lang="ru-RU" sz="1000" b="1" dirty="0"/>
                        <a:t>Окна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стиковые</a:t>
                      </a:r>
                    </a:p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362208111"/>
                  </a:ext>
                </a:extLst>
              </a:tr>
              <a:tr h="387022">
                <a:tc>
                  <a:txBody>
                    <a:bodyPr/>
                    <a:lstStyle/>
                    <a:p>
                      <a:r>
                        <a:rPr lang="ru-RU" sz="1000" b="1" dirty="0"/>
                        <a:t>Техническое обеспечение </a:t>
                      </a:r>
                    </a:p>
                    <a:p>
                      <a:endParaRPr lang="ru-RU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доснабжение, электроснабжение, газ  (подведен к участку)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491029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7120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3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C8DCFDC-D978-4E30-AD29-5EF076A1B560}"/>
              </a:ext>
            </a:extLst>
          </p:cNvPr>
          <p:cNvPicPr/>
          <p:nvPr/>
        </p:nvPicPr>
        <p:blipFill rotWithShape="1">
          <a:blip r:embed="rId3"/>
          <a:srcRect l="3732" t="10188" r="24125" b="8740"/>
          <a:stretch/>
        </p:blipFill>
        <p:spPr>
          <a:xfrm>
            <a:off x="1402079" y="856103"/>
            <a:ext cx="9100457" cy="5752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921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4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C7B5CB3-BC09-425E-BFFD-8EB32A07E3C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175" y="1434324"/>
            <a:ext cx="5706825" cy="428011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E5680BE-DE6F-4566-9493-9C7A575E4A5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59" y="1434323"/>
            <a:ext cx="5706825" cy="428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867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5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D91312D-D3C5-4448-84C9-51DF957031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275" y="1365956"/>
            <a:ext cx="5705725" cy="42792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0ACBAA6-61E7-4505-B7ED-9EEDB10E108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7258" y="1365955"/>
            <a:ext cx="5705726" cy="427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143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6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68980D7-1B30-4B65-BE42-CC7A540F80B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73" y="1524280"/>
            <a:ext cx="5690391" cy="426779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C3803DF-CE46-4659-B889-763786BC51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837" y="1524280"/>
            <a:ext cx="5690389" cy="426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722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7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314533B-027F-49C0-B2DB-F83001F05D7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330" y="1341120"/>
            <a:ext cx="5736048" cy="430203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10DEB90-BDB1-4417-965C-4192C5243EC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33" y="1341118"/>
            <a:ext cx="5736047" cy="430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002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8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D5CB143-C269-4BEC-B1EA-F410FD71F4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11" y="1506583"/>
            <a:ext cx="5712059" cy="428404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DCB71D1-BEC8-4779-AD99-2480D4776A7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544" y="1506583"/>
            <a:ext cx="5712059" cy="428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2776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9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B5BD40C-104F-47E3-B50D-274EF71106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14" y="1419496"/>
            <a:ext cx="5701211" cy="4275909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AF7E1C9-8149-42AB-900F-7F5F2B6E69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5875" y="1419496"/>
            <a:ext cx="5701211" cy="427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986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6XQsEryEGR5qw8UBcS6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24</TotalTime>
  <Words>131</Words>
  <Application>Microsoft Office PowerPoint</Application>
  <PresentationFormat>Широкоэкранный</PresentationFormat>
  <Paragraphs>37</Paragraphs>
  <Slides>9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4" baseType="lpstr">
      <vt:lpstr>Arial</vt:lpstr>
      <vt:lpstr>Arial Narrow</vt:lpstr>
      <vt:lpstr>Calibri</vt:lpstr>
      <vt:lpstr>Calibri Light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емыкина Наталья Сергеевна</dc:creator>
  <cp:lastModifiedBy>Комарова Ксения Олеговна</cp:lastModifiedBy>
  <cp:revision>1018</cp:revision>
  <cp:lastPrinted>2018-11-28T04:22:12Z</cp:lastPrinted>
  <dcterms:created xsi:type="dcterms:W3CDTF">2018-08-31T10:58:07Z</dcterms:created>
  <dcterms:modified xsi:type="dcterms:W3CDTF">2026-05-14T10:25:26Z</dcterms:modified>
</cp:coreProperties>
</file>